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/>
        </p:nvGraphicFramePr>
        <p:xfrm>
          <a:off x="481013" y="2823878"/>
          <a:ext cx="11233150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1529377" y="2458753"/>
            <a:ext cx="0" cy="14224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2124689" y="1726915"/>
            <a:ext cx="0" cy="28654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27193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4224031" y="2458753"/>
            <a:ext cx="0" cy="2133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4827588" y="1726915"/>
            <a:ext cx="0" cy="199072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5428584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6934814" y="2458753"/>
            <a:ext cx="0" cy="16652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7521268" y="1726915"/>
            <a:ext cx="0" cy="31575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8123238" y="2458753"/>
            <a:ext cx="0" cy="188753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9626907" y="2458753"/>
            <a:ext cx="0" cy="12461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0230464" y="1726915"/>
            <a:ext cx="0" cy="265906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0824189" y="2458753"/>
            <a:ext cx="0" cy="96361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113787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40%</a:t>
            </a:r>
            <a:endParaRPr lang="en-US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1784939" y="1297134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50%</a:t>
            </a:r>
            <a:endParaRPr lang="en-US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2352496" y="202219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3807466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60%</a:t>
            </a:r>
            <a:endParaRPr lang="en-US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5046176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4440878" y="1294178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90%</a:t>
            </a:r>
            <a:endParaRPr lang="en-US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7056988" y="1294178"/>
            <a:ext cx="100012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0%</a:t>
            </a:r>
            <a:endParaRPr lang="en-US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6511437" y="202874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7714945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9212337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20%</a:t>
            </a:r>
            <a:endParaRPr lang="en-US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9815332" y="129218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%</a:t>
            </a:r>
            <a:endParaRPr lang="en-US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0418096" y="2022190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35883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27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2</cp:revision>
  <dcterms:created xsi:type="dcterms:W3CDTF">2021-03-31T02:49:57Z</dcterms:created>
  <dcterms:modified xsi:type="dcterms:W3CDTF">2025-10-16T11:30:55Z</dcterms:modified>
  <cp:category/>
</cp:coreProperties>
</file>